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FF8989"/>
    <a:srgbClr val="F80000"/>
    <a:srgbClr val="7F0000"/>
    <a:srgbClr val="D1D1D1"/>
    <a:srgbClr val="A7A7A7"/>
    <a:srgbClr val="626262"/>
    <a:srgbClr val="F6F6F6"/>
    <a:srgbClr val="444444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Weigel Stefan (PAR-EPS)" userId="fd3b2067-2981-4ad8-bf3a-d2e1004e4fa8" providerId="ADAL" clId="{4FF4C755-DDAD-4C99-8FC4-4639A37D4838}"/>
    <pc:docChg chg="modSld">
      <pc:chgData name="Weigel Stefan (PAR-EPS)" userId="fd3b2067-2981-4ad8-bf3a-d2e1004e4fa8" providerId="ADAL" clId="{4FF4C755-DDAD-4C99-8FC4-4639A37D4838}" dt="2024-04-23T12:36:11.718" v="15" actId="255"/>
      <pc:docMkLst>
        <pc:docMk/>
      </pc:docMkLst>
      <pc:sldChg chg="addSp modSp mod">
        <pc:chgData name="Weigel Stefan (PAR-EPS)" userId="fd3b2067-2981-4ad8-bf3a-d2e1004e4fa8" providerId="ADAL" clId="{4FF4C755-DDAD-4C99-8FC4-4639A37D4838}" dt="2024-04-23T12:36:11.718" v="15" actId="255"/>
        <pc:sldMkLst>
          <pc:docMk/>
          <pc:sldMk cId="1183644670" sldId="410"/>
        </pc:sldMkLst>
        <pc:spChg chg="add mod">
          <ac:chgData name="Weigel Stefan (PAR-EPS)" userId="fd3b2067-2981-4ad8-bf3a-d2e1004e4fa8" providerId="ADAL" clId="{4FF4C755-DDAD-4C99-8FC4-4639A37D4838}" dt="2024-04-23T12:33:33.297" v="0"/>
          <ac:spMkLst>
            <pc:docMk/>
            <pc:sldMk cId="1183644670" sldId="410"/>
            <ac:spMk id="3" creationId="{F57E05B7-75DA-43EA-078A-511A88F8FF31}"/>
          </ac:spMkLst>
        </pc:spChg>
        <pc:spChg chg="mod">
          <ac:chgData name="Weigel Stefan (PAR-EPS)" userId="fd3b2067-2981-4ad8-bf3a-d2e1004e4fa8" providerId="ADAL" clId="{4FF4C755-DDAD-4C99-8FC4-4639A37D4838}" dt="2024-04-23T12:34:32.274" v="12" actId="1038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4FF4C755-DDAD-4C99-8FC4-4639A37D4838}" dt="2024-04-23T12:36:11.718" v="15" actId="255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BBE72A80-C927-4293-A09E-7FD82017E08D}"/>
    <pc:docChg chg="modSld">
      <pc:chgData name="Weigel Stefan (PAR-EPS)" userId="fd3b2067-2981-4ad8-bf3a-d2e1004e4fa8" providerId="ADAL" clId="{BBE72A80-C927-4293-A09E-7FD82017E08D}" dt="2025-02-22T14:19:47.538" v="5" actId="692"/>
      <pc:docMkLst>
        <pc:docMk/>
      </pc:docMkLst>
      <pc:sldChg chg="modSp mod">
        <pc:chgData name="Weigel Stefan (PAR-EPS)" userId="fd3b2067-2981-4ad8-bf3a-d2e1004e4fa8" providerId="ADAL" clId="{BBE72A80-C927-4293-A09E-7FD82017E08D}" dt="2025-02-22T14:19:47.538" v="5" actId="692"/>
        <pc:sldMkLst>
          <pc:docMk/>
          <pc:sldMk cId="1183644670" sldId="410"/>
        </pc:sldMkLst>
        <pc:spChg chg="mod">
          <ac:chgData name="Weigel Stefan (PAR-EPS)" userId="fd3b2067-2981-4ad8-bf3a-d2e1004e4fa8" providerId="ADAL" clId="{BBE72A80-C927-4293-A09E-7FD82017E08D}" dt="2025-02-22T14:18:21.719" v="0" actId="790"/>
          <ac:spMkLst>
            <pc:docMk/>
            <pc:sldMk cId="1183644670" sldId="410"/>
            <ac:spMk id="2" creationId="{00000000-0000-0000-0000-000000000000}"/>
          </ac:spMkLst>
        </pc:spChg>
        <pc:graphicFrameChg chg="mod">
          <ac:chgData name="Weigel Stefan (PAR-EPS)" userId="fd3b2067-2981-4ad8-bf3a-d2e1004e4fa8" providerId="ADAL" clId="{BBE72A80-C927-4293-A09E-7FD82017E08D}" dt="2025-02-22T14:19:47.538" v="5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A8BA2736-B912-4D5A-8357-304D117CCE6C}"/>
    <pc:docChg chg="modSld">
      <pc:chgData name="Weigel Stefan (PAR-EPS)" userId="fd3b2067-2981-4ad8-bf3a-d2e1004e4fa8" providerId="ADAL" clId="{A8BA2736-B912-4D5A-8357-304D117CCE6C}" dt="2024-02-28T13:13:31.021" v="7" actId="27918"/>
      <pc:docMkLst>
        <pc:docMk/>
      </pc:docMkLst>
      <pc:sldChg chg="modSp mod">
        <pc:chgData name="Weigel Stefan (PAR-EPS)" userId="fd3b2067-2981-4ad8-bf3a-d2e1004e4fa8" providerId="ADAL" clId="{A8BA2736-B912-4D5A-8357-304D117CCE6C}" dt="2024-02-28T13:13:31.021" v="7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A8BA2736-B912-4D5A-8357-304D117CCE6C}" dt="2024-02-28T13:12:47.604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10:32.993" v="83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10:32.993" v="83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viamenti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3-49D9-42D7-BC29-03E1B0B07635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</c:v>
                </c:pt>
                <c:pt idx="1">
                  <c:v>5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4</c:v>
                </c:pt>
                <c:pt idx="9">
                  <c:v>2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i con il coinvolgimento di corse treno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2-49D9-42D7-BC29-03E1B0B07635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5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3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Incidenti presso passaggi a livello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1-49D9-42D7-BC29-03E1B0B07635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1</c:v>
                </c:pt>
                <c:pt idx="1">
                  <c:v>8</c:v>
                </c:pt>
                <c:pt idx="2">
                  <c:v>10</c:v>
                </c:pt>
                <c:pt idx="3">
                  <c:v>12</c:v>
                </c:pt>
                <c:pt idx="4">
                  <c:v>15</c:v>
                </c:pt>
                <c:pt idx="5">
                  <c:v>15</c:v>
                </c:pt>
                <c:pt idx="6">
                  <c:v>12</c:v>
                </c:pt>
                <c:pt idx="7">
                  <c:v>11</c:v>
                </c:pt>
                <c:pt idx="8">
                  <c:v>13</c:v>
                </c:pt>
                <c:pt idx="9">
                  <c:v>12</c:v>
                </c:pt>
                <c:pt idx="1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cidenti di viaggiatori o di terzi nell’accesso ai treni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0-49D9-42D7-BC29-03E1B0B07635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i con il coinvolgimento di corse treno per mio di tracce-chilometro</c:v>
                </c:pt>
              </c:strCache>
            </c:strRef>
          </c:tx>
          <c:spPr>
            <a:ln>
              <a:solidFill>
                <a:srgbClr val="B0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6.0000000000000001E-3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0.04</c:v>
                </c:pt>
                <c:pt idx="5">
                  <c:v>0.03</c:v>
                </c:pt>
                <c:pt idx="6">
                  <c:v>0.06</c:v>
                </c:pt>
                <c:pt idx="7">
                  <c:v>0.06</c:v>
                </c:pt>
                <c:pt idx="8">
                  <c:v>0.05</c:v>
                </c:pt>
                <c:pt idx="9">
                  <c:v>7.0000000000000007E-2</c:v>
                </c:pt>
                <c:pt idx="10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4666744795290797"/>
          <c:h val="0.2158450449101322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6176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62253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/>
            <a:t>Quantità </a:t>
          </a:r>
          <a:endParaRPr lang="it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218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06784" y="392032"/>
          <a:ext cx="131022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it-CH" sz="1100" noProof="0" dirty="0"/>
            <a:t>Quantità/mio di </a:t>
          </a:r>
          <a:r>
            <a:rPr lang="it-CH" sz="1100" noProof="0" dirty="0" err="1"/>
            <a:t>trkm</a:t>
          </a:r>
          <a:endParaRPr lang="it-CH" sz="1100" noProof="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Incidenti ferrovia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508486547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57E05B7-75DA-43EA-078A-511A88F8FF31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Incidenti sull’infrastruttura delle FFS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361565C-0D47-46CC-9CAE-3B8C82AAA0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2f5c8543-cf23-4718-a3b8-32b0a91d511a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Incidenti ferrovia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identi ferroviari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5-02-24T13:0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